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B7B7"/>
    <a:srgbClr val="5A5A5A"/>
    <a:srgbClr val="444444"/>
    <a:srgbClr val="F6F6F6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0:11.844" v="70" actId="103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0:11.844" v="70" actId="103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Weigel Stefan (PAR-EPS)" userId="fd3b2067-2981-4ad8-bf3a-d2e1004e4fa8" providerId="ADAL" clId="{4ECC2322-0ACA-4E9A-8919-2B19944617B3}"/>
    <pc:docChg chg="modSld">
      <pc:chgData name="Weigel Stefan (PAR-EPS)" userId="fd3b2067-2981-4ad8-bf3a-d2e1004e4fa8" providerId="ADAL" clId="{4ECC2322-0ACA-4E9A-8919-2B19944617B3}" dt="2024-02-28T12:00:11.996" v="12" actId="27918"/>
      <pc:docMkLst>
        <pc:docMk/>
      </pc:docMkLst>
      <pc:sldChg chg="modSp mod">
        <pc:chgData name="Weigel Stefan (PAR-EPS)" userId="fd3b2067-2981-4ad8-bf3a-d2e1004e4fa8" providerId="ADAL" clId="{4ECC2322-0ACA-4E9A-8919-2B19944617B3}" dt="2024-02-28T12:00:11.996" v="12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4ECC2322-0ACA-4E9A-8919-2B19944617B3}" dt="2024-02-28T11:59:10.928" v="0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ECC2322-0ACA-4E9A-8919-2B19944617B3}" dt="2024-02-28T11:59:25.667" v="1"/>
          <ac:spMkLst>
            <pc:docMk/>
            <pc:sldMk cId="3158517815" sldId="412"/>
            <ac:spMk id="6" creationId="{858CAFD8-585A-425D-B84C-7C6D2EEC02E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an Gottardo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914608999999999</c:v>
                </c:pt>
                <c:pt idx="1">
                  <c:v>18.405615000000001</c:v>
                </c:pt>
                <c:pt idx="2">
                  <c:v>17.842801000000001</c:v>
                </c:pt>
                <c:pt idx="3">
                  <c:v>16.624806</c:v>
                </c:pt>
                <c:pt idx="4">
                  <c:v>14.843216999999999</c:v>
                </c:pt>
                <c:pt idx="5">
                  <c:v>16.882899999999999</c:v>
                </c:pt>
                <c:pt idx="6">
                  <c:v>17.179015</c:v>
                </c:pt>
                <c:pt idx="7">
                  <c:v>17.63063</c:v>
                </c:pt>
                <c:pt idx="8">
                  <c:v>20.640112999999999</c:v>
                </c:pt>
                <c:pt idx="9">
                  <c:v>22.394874000000002</c:v>
                </c:pt>
                <c:pt idx="10">
                  <c:v>20.8280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empion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342789</c:v>
                </c:pt>
                <c:pt idx="1">
                  <c:v>13.915381999999999</c:v>
                </c:pt>
                <c:pt idx="2">
                  <c:v>15.303774000000001</c:v>
                </c:pt>
                <c:pt idx="3">
                  <c:v>16.884143000000002</c:v>
                </c:pt>
                <c:pt idx="4">
                  <c:v>17.496600999999998</c:v>
                </c:pt>
                <c:pt idx="5">
                  <c:v>16.113721000000002</c:v>
                </c:pt>
                <c:pt idx="6">
                  <c:v>14.807741999999999</c:v>
                </c:pt>
                <c:pt idx="7">
                  <c:v>12.384786999999999</c:v>
                </c:pt>
                <c:pt idx="8">
                  <c:v>13.208899000000001</c:v>
                </c:pt>
                <c:pt idx="9">
                  <c:v>10.993043999999999</c:v>
                </c:pt>
                <c:pt idx="10">
                  <c:v>10.89884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3431</cdr:x>
      <cdr:y>0.052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797260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latin typeface="+mn-lt"/>
              <a:ea typeface="+mn-ea"/>
              <a:cs typeface="Arial" pitchFamily="34" charset="0"/>
            </a:rPr>
            <a:t>Mio</a:t>
          </a:r>
          <a:r>
            <a:rPr lang="de-CH" sz="1000" dirty="0">
              <a:latin typeface="+mn-lt"/>
              <a:ea typeface="+mn-ea"/>
              <a:cs typeface="Arial" pitchFamily="34" charset="0"/>
            </a:rPr>
            <a:t> di t net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raffico merci transalpino su rotaia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71837681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ume del traffico in tonnellate nette di tutte le imprese di trasporto ferroviario sull’infrastruttura FF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170649"/>
          </a:xfr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6D7F5C-99C0-4597-9A67-AE7241B58D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fico merci transalpino su rotai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fico merci transalpino su rotaia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2:0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